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2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0-482E-BF90-BC3B6B5D5E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0-482E-BF90-BC3B6B5D5E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60-482E-BF90-BC3B6B5D5E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23673135"/>
        <c:axId val="323673615"/>
      </c:barChart>
      <c:catAx>
        <c:axId val="3236731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3673615"/>
        <c:crosses val="autoZero"/>
        <c:auto val="1"/>
        <c:lblAlgn val="ctr"/>
        <c:lblOffset val="100"/>
        <c:noMultiLvlLbl val="0"/>
      </c:catAx>
      <c:valAx>
        <c:axId val="323673615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36731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5A5727-393B-DD1E-E319-E0BFBC25BB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BB09DFD-9368-8584-2AC6-3B08E611C7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B09DFD-9368-8584-2AC6-3B08E611C7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8679FB22-B393-6BF1-0CFF-32577907D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Bar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159DD80-CA2F-B6B3-63CD-DE6A6B998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77F36D6E-9C41-D1A0-F6B5-4DE1B41D50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B8363B68-0258-F71A-5D2D-07A1108815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10" name="Chart Placeholder 9">
            <a:extLst>
              <a:ext uri="{FF2B5EF4-FFF2-40B4-BE49-F238E27FC236}">
                <a16:creationId xmlns:a16="http://schemas.microsoft.com/office/drawing/2014/main" id="{9AB95928-8734-FBCE-2B9F-80ABED41E5B4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712172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3</TotalTime>
  <Words>15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Bar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53</cp:revision>
  <dcterms:created xsi:type="dcterms:W3CDTF">2025-07-09T10:57:17Z</dcterms:created>
  <dcterms:modified xsi:type="dcterms:W3CDTF">2025-10-22T09:46:50Z</dcterms:modified>
  <cp:category/>
</cp:coreProperties>
</file>